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>
        <p:scale>
          <a:sx n="56" d="100"/>
          <a:sy n="56" d="100"/>
        </p:scale>
        <p:origin x="1068" y="1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412737881449001E-2"/>
          <c:y val="0.18185702512318999"/>
          <c:w val="0.95117440923918595"/>
          <c:h val="0.616308386840118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etter Impression</c:v>
                </c:pt>
              </c:strCache>
            </c:strRef>
          </c:tx>
          <c:spPr>
            <a:solidFill>
              <a:srgbClr val="D5D5D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B72-B342-B478-00D1EB922252}"/>
              </c:ext>
            </c:extLst>
          </c:dPt>
          <c:dPt>
            <c:idx val="1"/>
            <c:invertIfNegative val="0"/>
            <c:bubble3D val="0"/>
            <c:spPr>
              <a:solidFill>
                <a:srgbClr val="FB344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B72-B342-B478-00D1EB92225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B72-B342-B478-00D1EB922252}"/>
              </c:ext>
            </c:extLst>
          </c:dPt>
          <c:cat>
            <c:strRef>
              <c:f>Sheet1!$A$2:$A$4</c:f>
              <c:strCache>
                <c:ptCount val="3"/>
                <c:pt idx="0">
                  <c:v>Not exposed to cinema</c:v>
                </c:pt>
                <c:pt idx="1">
                  <c:v>Exposed to cinema</c:v>
                </c:pt>
                <c:pt idx="2">
                  <c:v>Contextual/Bespoke exposed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28999999999999998</c:v>
                </c:pt>
                <c:pt idx="1">
                  <c:v>0.4</c:v>
                </c:pt>
                <c:pt idx="2" formatCode="0%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B72-B342-B478-00D1EB9222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168373888"/>
        <c:axId val="-1168371136"/>
      </c:barChart>
      <c:catAx>
        <c:axId val="-116837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-1168371136"/>
        <c:crosses val="autoZero"/>
        <c:auto val="1"/>
        <c:lblAlgn val="ctr"/>
        <c:lblOffset val="100"/>
        <c:noMultiLvlLbl val="0"/>
      </c:catAx>
      <c:valAx>
        <c:axId val="-1168371136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-1168373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548</Words>
  <Application>Microsoft Office PowerPoint</Application>
  <PresentationFormat>Widescreen</PresentationFormat>
  <Paragraphs>153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7" baseType="lpstr">
      <vt:lpstr>Aptos</vt:lpstr>
      <vt:lpstr>Arial</vt:lpstr>
      <vt:lpstr>Calibri</vt:lpstr>
      <vt:lpstr>Century Gothic</vt:lpstr>
      <vt:lpstr>Helvetica</vt:lpstr>
      <vt:lpstr>Impact</vt:lpstr>
      <vt:lpstr>Times New Roman</vt:lpstr>
      <vt:lpstr>Wingdings</vt:lpstr>
      <vt:lpstr>Statement Slides</vt:lpstr>
      <vt:lpstr>1_COPY SLIDES</vt:lpstr>
      <vt:lpstr>1_THANK YOU SLIDES</vt:lpstr>
      <vt:lpstr>think-cell Slide</vt:lpstr>
      <vt:lpstr>PowerPoint Presentation</vt:lpstr>
      <vt:lpstr>CINEWORLD | TURN YOUR PHONE OFF MESSAGE </vt:lpstr>
      <vt:lpstr>THE DCM AD REEL – Exhibitor ident</vt:lpstr>
      <vt:lpstr>THE POWER OF BESPOKE CONTENT IN CINEMA</vt:lpstr>
      <vt:lpstr>CONTEXTUALLY RELEVANT CONTENT ENHANCES THESE SHIFTS IN BRAND METRIC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melia Radford</dc:creator>
  <cp:lastModifiedBy>Amelia Radford</cp:lastModifiedBy>
  <cp:revision>1</cp:revision>
  <dcterms:created xsi:type="dcterms:W3CDTF">2025-03-24T10:55:48Z</dcterms:created>
  <dcterms:modified xsi:type="dcterms:W3CDTF">2025-03-24T11:32:15Z</dcterms:modified>
</cp:coreProperties>
</file>